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8"/>
  </p:notesMasterIdLst>
  <p:sldIdLst>
    <p:sldId id="300" r:id="rId3"/>
    <p:sldId id="302" r:id="rId4"/>
    <p:sldId id="291" r:id="rId5"/>
    <p:sldId id="292" r:id="rId6"/>
    <p:sldId id="303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867" userDrawn="1">
          <p15:clr>
            <a:srgbClr val="A4A3A4"/>
          </p15:clr>
        </p15:guide>
        <p15:guide id="3" orient="horz" pos="7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246" y="90"/>
      </p:cViewPr>
      <p:guideLst>
        <p:guide pos="7310"/>
        <p:guide orient="horz" pos="867"/>
        <p:guide orient="horz" pos="7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8977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9533931"/>
              </p:ext>
            </p:extLst>
          </p:nvPr>
        </p:nvGraphicFramePr>
        <p:xfrm>
          <a:off x="553820" y="1076285"/>
          <a:ext cx="11079993" cy="28173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305168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3051686">
                  <a:extLst>
                    <a:ext uri="{9D8B030D-6E8A-4147-A177-3AD203B41FA5}">
                      <a16:colId xmlns:a16="http://schemas.microsoft.com/office/drawing/2014/main" val="1281931210"/>
                    </a:ext>
                  </a:extLst>
                </a:gridCol>
                <a:gridCol w="3051687">
                  <a:extLst>
                    <a:ext uri="{9D8B030D-6E8A-4147-A177-3AD203B41FA5}">
                      <a16:colId xmlns:a16="http://schemas.microsoft.com/office/drawing/2014/main" val="1777577578"/>
                    </a:ext>
                  </a:extLst>
                </a:gridCol>
              </a:tblGrid>
              <a:tr h="308314"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0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0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0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0180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内容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50180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Media Platform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媒体平台</a:t>
                      </a: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Exposure Form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曝光形式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9114338"/>
                  </a:ext>
                </a:extLst>
              </a:tr>
              <a:tr h="501808">
                <a:tc row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人员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客户数量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47209"/>
                  </a:ext>
                </a:extLst>
              </a:tr>
              <a:tr h="50180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每条线索成本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1173184"/>
                  </a:ext>
                </a:extLst>
              </a:tr>
              <a:tr h="50180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03303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9528464" y="2947222"/>
            <a:ext cx="22092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</a:p>
          <a:p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graphicFrame>
        <p:nvGraphicFramePr>
          <p:cNvPr id="10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5888595"/>
              </p:ext>
            </p:extLst>
          </p:nvPr>
        </p:nvGraphicFramePr>
        <p:xfrm>
          <a:off x="539748" y="3882209"/>
          <a:ext cx="11079994" cy="6731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20668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val="2549869754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val="2249785041"/>
                    </a:ext>
                  </a:extLst>
                </a:gridCol>
              </a:tblGrid>
              <a:tr h="276870">
                <a:tc gridSpan="4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33036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aseline="0" dirty="0" smtClean="0"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</a:tbl>
          </a:graphicData>
        </a:graphic>
      </p:graphicFrame>
      <p:graphicFrame>
        <p:nvGraphicFramePr>
          <p:cNvPr id="11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434883"/>
              </p:ext>
            </p:extLst>
          </p:nvPr>
        </p:nvGraphicFramePr>
        <p:xfrm>
          <a:off x="539750" y="4646412"/>
          <a:ext cx="11079993" cy="194838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86012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1498140">
                  <a:extLst>
                    <a:ext uri="{9D8B030D-6E8A-4147-A177-3AD203B41FA5}">
                      <a16:colId xmlns:a16="http://schemas.microsoft.com/office/drawing/2014/main" val="2321960186"/>
                    </a:ext>
                  </a:extLst>
                </a:gridCol>
                <a:gridCol w="916625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394804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394804">
                  <a:extLst>
                    <a:ext uri="{9D8B030D-6E8A-4147-A177-3AD203B41FA5}">
                      <a16:colId xmlns:a16="http://schemas.microsoft.com/office/drawing/2014/main" val="1755559964"/>
                    </a:ext>
                  </a:extLst>
                </a:gridCol>
                <a:gridCol w="1238205">
                  <a:extLst>
                    <a:ext uri="{9D8B030D-6E8A-4147-A177-3AD203B41FA5}">
                      <a16:colId xmlns:a16="http://schemas.microsoft.com/office/drawing/2014/main" val="714802837"/>
                    </a:ext>
                  </a:extLst>
                </a:gridCol>
                <a:gridCol w="1551403">
                  <a:extLst>
                    <a:ext uri="{9D8B030D-6E8A-4147-A177-3AD203B41FA5}">
                      <a16:colId xmlns:a16="http://schemas.microsoft.com/office/drawing/2014/main" val="2810745597"/>
                    </a:ext>
                  </a:extLst>
                </a:gridCol>
              </a:tblGrid>
              <a:tr h="276870">
                <a:tc gridSpan="7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0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0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0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52406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0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0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0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开始时间</a:t>
                      </a:r>
                      <a:endParaRPr lang="en-US" altLang="zh-CN" sz="10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结束时间</a:t>
                      </a:r>
                      <a:endParaRPr lang="en-US" altLang="zh-CN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计投放天数</a:t>
                      </a:r>
                      <a:endParaRPr lang="en-US" altLang="zh-CN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日费用</a:t>
                      </a:r>
                      <a:endParaRPr lang="en-US" altLang="zh-CN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404166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Baidu Key Words Marketing for local dealer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百度关键词购买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 rtl="0" eaLnBrk="1" latinLnBrk="0" hangingPunct="1">
                        <a:buFontTx/>
                        <a:buNone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50831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nline sales leads generation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线上线索获取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406622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Media bu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媒介购买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176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699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6"/>
            <a:ext cx="11080728" cy="4749808"/>
            <a:chOff x="181914" y="1426462"/>
            <a:chExt cx="9940530" cy="3290445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2"/>
              <a:ext cx="4905554" cy="3290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290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3"/>
            <a:ext cx="4888615" cy="4532231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Platform Screen 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Shot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媒体平台截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图</a:t>
            </a:r>
            <a:endParaRPr lang="zh-CN" altLang="en-US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Platform </a:t>
            </a:r>
            <a:r>
              <a:rPr lang="zh-CN" altLang="en-US" sz="2000" dirty="0"/>
              <a:t>平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Platform basic information: introduction / why 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媒体平台选择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28873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730367"/>
            <a:ext cx="11065609" cy="474980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49" y="1123920"/>
            <a:ext cx="11065775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Brand exposure form (reference / demo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)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品牌曝光形式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7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Platform </a:t>
            </a:r>
            <a:r>
              <a:rPr lang="zh-CN" altLang="en-US" sz="2000" dirty="0"/>
              <a:t>平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32978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796043" y="5472009"/>
            <a:ext cx="3442716" cy="682578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en-US" altLang="zh-CN" sz="1424" dirty="0">
                <a:solidFill>
                  <a:schemeClr val="bg1"/>
                </a:solidFill>
                <a:cs typeface="+mn-ea"/>
                <a:sym typeface="+mn-lt"/>
              </a:rPr>
              <a:t>Approved by </a:t>
            </a:r>
            <a:r>
              <a:rPr lang="en-US" altLang="zh-CN" sz="1424" dirty="0" err="1">
                <a:solidFill>
                  <a:schemeClr val="bg1"/>
                </a:solidFill>
                <a:cs typeface="+mn-ea"/>
                <a:sym typeface="+mn-lt"/>
              </a:rPr>
              <a:t>MarCom</a:t>
            </a:r>
            <a:endParaRPr lang="en-US" altLang="zh-CN" sz="1424" dirty="0">
              <a:solidFill>
                <a:schemeClr val="bg1"/>
              </a:solidFill>
              <a:cs typeface="+mn-ea"/>
              <a:sym typeface="+mn-lt"/>
            </a:endParaRPr>
          </a:p>
          <a:p>
            <a:pPr algn="r">
              <a:lnSpc>
                <a:spcPct val="130000"/>
              </a:lnSpc>
            </a:pP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请提供批准后的主视觉图片</a:t>
            </a: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Title 12"/>
          <p:cNvSpPr txBox="1">
            <a:spLocks/>
          </p:cNvSpPr>
          <p:nvPr/>
        </p:nvSpPr>
        <p:spPr>
          <a:xfrm>
            <a:off x="539015" y="707921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2000" dirty="0">
                <a:cs typeface="+mn-ea"/>
                <a:sym typeface="+mn-lt"/>
              </a:rPr>
              <a:t>B</a:t>
            </a:r>
            <a:r>
              <a:rPr lang="en-US" sz="2000" dirty="0">
                <a:cs typeface="+mn-ea"/>
                <a:sym typeface="+mn-lt"/>
              </a:rPr>
              <a:t>rand </a:t>
            </a:r>
            <a:r>
              <a:rPr lang="en-US" altLang="zh-CN" sz="2000" dirty="0">
                <a:cs typeface="+mn-ea"/>
                <a:sym typeface="+mn-lt"/>
              </a:rPr>
              <a:t>R</a:t>
            </a:r>
            <a:r>
              <a:rPr lang="en-US" sz="2000" dirty="0">
                <a:cs typeface="+mn-ea"/>
                <a:sym typeface="+mn-lt"/>
              </a:rPr>
              <a:t>epresentation </a:t>
            </a:r>
            <a:r>
              <a:rPr lang="en-US" sz="2000" dirty="0" smtClean="0">
                <a:cs typeface="+mn-ea"/>
                <a:sym typeface="+mn-lt"/>
              </a:rPr>
              <a:t>– </a:t>
            </a:r>
            <a:r>
              <a:rPr lang="zh-CN" altLang="en-US" sz="2000" dirty="0" smtClean="0">
                <a:cs typeface="+mn-ea"/>
                <a:sym typeface="+mn-lt"/>
              </a:rPr>
              <a:t>物料设计</a:t>
            </a:r>
            <a:endParaRPr lang="en-US" sz="200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730367"/>
            <a:ext cx="11065609" cy="474980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00" dirty="0"/>
              <a:t>Schematic Diagram of Media Delivery </a:t>
            </a:r>
            <a:r>
              <a:rPr lang="zh-CN" altLang="en-US" sz="1800" dirty="0"/>
              <a:t>媒体投放示例</a:t>
            </a:r>
            <a:endParaRPr lang="en-US" sz="1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49" y="1123920"/>
            <a:ext cx="11065775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Schematic Diagram of Media Delivery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投放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示例</a:t>
            </a:r>
            <a:endParaRPr lang="zh-CN" altLang="en-US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465029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6</TotalTime>
  <Words>235</Words>
  <Application>Microsoft Office PowerPoint</Application>
  <PresentationFormat>宽屏</PresentationFormat>
  <Paragraphs>63</Paragraphs>
  <Slides>5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6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3_Office Theme</vt:lpstr>
      <vt:lpstr>4_Office Theme</vt:lpstr>
      <vt:lpstr>think-cell Slide</vt:lpstr>
      <vt:lpstr>Overview 概述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64</cp:revision>
  <dcterms:created xsi:type="dcterms:W3CDTF">2022-02-15T07:41:51Z</dcterms:created>
  <dcterms:modified xsi:type="dcterms:W3CDTF">2022-05-05T02:39:20Z</dcterms:modified>
</cp:coreProperties>
</file>